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333" r:id="rId3"/>
    <p:sldId id="313" r:id="rId4"/>
    <p:sldId id="314" r:id="rId5"/>
    <p:sldId id="315" r:id="rId6"/>
    <p:sldId id="316" r:id="rId7"/>
    <p:sldId id="317" r:id="rId8"/>
    <p:sldId id="318" r:id="rId9"/>
    <p:sldId id="334" r:id="rId10"/>
    <p:sldId id="320" r:id="rId11"/>
    <p:sldId id="336" r:id="rId12"/>
    <p:sldId id="335" r:id="rId13"/>
    <p:sldId id="326" r:id="rId14"/>
    <p:sldId id="325" r:id="rId15"/>
    <p:sldId id="329" r:id="rId16"/>
    <p:sldId id="330" r:id="rId17"/>
    <p:sldId id="332" r:id="rId18"/>
    <p:sldId id="339" r:id="rId19"/>
    <p:sldId id="338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EBC36"/>
    <a:srgbClr val="C10169"/>
    <a:srgbClr val="475418"/>
    <a:srgbClr val="6B7E24"/>
    <a:srgbClr val="FE02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0" autoAdjust="0"/>
    <p:restoredTop sz="81963" autoAdjust="0"/>
  </p:normalViewPr>
  <p:slideViewPr>
    <p:cSldViewPr snapToGrid="0">
      <p:cViewPr varScale="1">
        <p:scale>
          <a:sx n="94" d="100"/>
          <a:sy n="94" d="100"/>
        </p:scale>
        <p:origin x="94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AFAF90-5D24-42BD-9F6C-C36EB2E30DF0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F53C49-3B40-434F-B9D0-12B6D0132F4B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9501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7070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Begriff «</a:t>
            </a:r>
            <a:r>
              <a:rPr lang="de-CH" dirty="0" err="1"/>
              <a:t>Coworking</a:t>
            </a:r>
            <a:r>
              <a:rPr lang="de-CH" dirty="0"/>
              <a:t>» kommt aus San Francisco, 200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Aus der Not geboren (Mietkost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Entstanden ist eine neue Form der Zusammenarbeit, in der durch Zufallsbegegnungen («</a:t>
            </a:r>
            <a:r>
              <a:rPr lang="de-CH" dirty="0" err="1"/>
              <a:t>Serendipity</a:t>
            </a:r>
            <a:r>
              <a:rPr lang="de-CH" dirty="0"/>
              <a:t> Moments») Innovation gefördert wi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eltweiter Boom, auch in der Schweiz herrscht exponentielles Wachstu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Ende 2016: über 80 </a:t>
            </a:r>
            <a:r>
              <a:rPr lang="de-CH" dirty="0" err="1"/>
              <a:t>Coworking</a:t>
            </a:r>
            <a:r>
              <a:rPr lang="de-CH" dirty="0"/>
              <a:t>-Spaces in der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4922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llageOffice ist ein Ökosystem, um den gesellschaftlichen Wandel zu ermöglichen. Wir verbinden </a:t>
            </a:r>
            <a:r>
              <a:rPr lang="de-CH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working</a:t>
            </a:r>
            <a:r>
              <a:rPr lang="de-C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t Grosskunden, KMU und Startups. Wir bieten Rahmenbedingungen für den Wachstum (Abo-Modell, Investoren, Branding). Wir binden Dienstleister in unser Ökosystem ein, um die Attraktivität für alle zu steigern.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 err="1"/>
              <a:t>Coworking</a:t>
            </a:r>
            <a:r>
              <a:rPr lang="de-CH" dirty="0"/>
              <a:t> als Ba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Grosskunden und KMU im Abo-Modell «Office </a:t>
            </a:r>
            <a:r>
              <a:rPr lang="de-CH" baseline="0" dirty="0" err="1"/>
              <a:t>as</a:t>
            </a:r>
            <a:r>
              <a:rPr lang="de-CH" baseline="0" dirty="0"/>
              <a:t> a Service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Mitglieder auch als Genossenschafter einbinden (Mobility als Vorbil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Service-Partner, die im Ökosystem ihre künftigen Kunden antreffen (z.B. </a:t>
            </a:r>
            <a:r>
              <a:rPr lang="de-CH" baseline="0" dirty="0" err="1"/>
              <a:t>HelloNina</a:t>
            </a:r>
            <a:r>
              <a:rPr lang="de-CH" baseline="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Investoren, die in die Idee investieren (Engagement Migros, KOMO, Alternative Bank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Politisch neutral, alle Parteien sehen Vorteile von </a:t>
            </a:r>
            <a:r>
              <a:rPr lang="de-CH" baseline="0" dirty="0" err="1"/>
              <a:t>VillageOffice</a:t>
            </a:r>
            <a:r>
              <a:rPr lang="de-CH" baseline="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aseline="0" dirty="0"/>
              <a:t>Immobilien-Partner für den Wachstum (z.B. UBS Fund Management, Swiss Lif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21BD96-04A2-4C2E-B545-7F094146E657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653668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Genossenschaft als Zukunftsmodell: Alle Stakeholder können eingebunden wer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Finanzierung als Herausforderung: Start nur möglich dank unserer Investo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Gewinnorientiert aus unternehmerischer Überzeugung. Ausrichtung auf alle Stakeholder (B-</a:t>
            </a:r>
            <a:r>
              <a:rPr lang="de-CH" dirty="0" err="1"/>
              <a:t>Corp</a:t>
            </a:r>
            <a:r>
              <a:rPr lang="de-CH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02683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Aufbaujahr erfolgreich abgeschlos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2017 geht es los. Am 3. April 2017 startet der operative Betrieb, am 28. August 2017 (nach den Sommerferien in allen Kantonen) startet das Programm «</a:t>
            </a:r>
            <a:r>
              <a:rPr lang="de-CH" dirty="0" err="1"/>
              <a:t>Coworking</a:t>
            </a:r>
            <a:r>
              <a:rPr lang="de-CH" dirty="0"/>
              <a:t> Experience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Stufenweiser Bau unserer IT-Platt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Ausbau des Netzwerkes mit starken Partner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F53C49-3B40-434F-B9D0-12B6D0132F4B}" type="slidenum">
              <a:rPr kumimoji="0" lang="de-CH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109218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https://sustainabledevelopment.un.org/partnership/?p=11244</a:t>
            </a:r>
          </a:p>
          <a:p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ir sind in einem Marath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Ziel bis 2030: Eine Million Menschen arbeitet in diesem Mode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Das nächste </a:t>
            </a:r>
            <a:r>
              <a:rPr lang="de-CH" dirty="0" err="1"/>
              <a:t>VillageOffice</a:t>
            </a:r>
            <a:r>
              <a:rPr lang="de-CH" dirty="0"/>
              <a:t> ist 15 Minuten entfernt, mit Velo oder </a:t>
            </a:r>
            <a:r>
              <a:rPr lang="de-CH" dirty="0" err="1"/>
              <a:t>öV</a:t>
            </a:r>
            <a:endParaRPr lang="de-CH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Dafür brauchen wir mindestens 1’000 Standorte in der ganzen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8140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Mensch: Ist im Zentrum. Der soziale Kontakt ist ein Grundbedürfnis, das im Home Office nicht erfüllt wird. Durch Vernetzung entsteht Innov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Technik: Treiber für den Wandel in der Gesellschaft, hin zur digitalen Gesellschaf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Business: Die Unternehmensgrenzen verschwinden immer mehr, Netzwerke bilden sich. </a:t>
            </a:r>
            <a:r>
              <a:rPr lang="de-CH" dirty="0" err="1"/>
              <a:t>Coworking</a:t>
            </a:r>
            <a:r>
              <a:rPr lang="de-CH" dirty="0"/>
              <a:t>-Spaces wie das </a:t>
            </a:r>
            <a:r>
              <a:rPr lang="de-CH" dirty="0" err="1"/>
              <a:t>VillageOffice</a:t>
            </a:r>
            <a:r>
              <a:rPr lang="de-CH" dirty="0"/>
              <a:t> sind dafür der ideale physische Arbeitsrau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5496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Jean-Pierre </a:t>
            </a:r>
            <a:r>
              <a:rPr lang="de-CH" dirty="0" err="1"/>
              <a:t>Auderset</a:t>
            </a:r>
            <a:r>
              <a:rPr lang="de-CH" dirty="0"/>
              <a:t> und seine Familie mit Frau Caro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ohnen in </a:t>
            </a:r>
            <a:r>
              <a:rPr lang="de-CH" dirty="0" err="1"/>
              <a:t>Plaffeien</a:t>
            </a:r>
            <a:r>
              <a:rPr lang="de-CH" dirty="0"/>
              <a:t>, Freiburger Oberl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Haus im Grünen ist ein Lebenstrau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Dafür hat er einen langen Arbeitsweg bis nach Zürich in Kauf genomm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Mit Familie geht das nicht mehr g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Daher: Moderner Arbeitgeber, der </a:t>
            </a:r>
            <a:r>
              <a:rPr lang="de-CH" dirty="0" err="1"/>
              <a:t>VillageOffice</a:t>
            </a:r>
            <a:r>
              <a:rPr lang="de-CH" dirty="0"/>
              <a:t> unterstützt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0556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2-3 Mal pro Woche fährt er mit dem Velo ins </a:t>
            </a:r>
            <a:r>
              <a:rPr lang="de-CH" dirty="0" err="1"/>
              <a:t>VillageOffice</a:t>
            </a:r>
            <a:r>
              <a:rPr lang="de-CH" dirty="0"/>
              <a:t>, 10 Minuten von seinem Ha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ird begrüsst von Petra, dem </a:t>
            </a:r>
            <a:r>
              <a:rPr lang="de-CH" dirty="0" err="1"/>
              <a:t>VillageOffice</a:t>
            </a:r>
            <a:r>
              <a:rPr lang="de-CH" dirty="0"/>
              <a:t> Ho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Sie ist die «gute Seele» und vernetzt die Menschen im </a:t>
            </a:r>
            <a:r>
              <a:rPr lang="de-CH" dirty="0" err="1"/>
              <a:t>VillageOffice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9738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elcome Panel zeigt, wer aktuell im </a:t>
            </a:r>
            <a:r>
              <a:rPr lang="de-CH" dirty="0" err="1"/>
              <a:t>VillageOffice</a:t>
            </a:r>
            <a:r>
              <a:rPr lang="de-CH" dirty="0"/>
              <a:t> arbe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Es ist </a:t>
            </a:r>
            <a:r>
              <a:rPr lang="de-CH" dirty="0" err="1"/>
              <a:t>Coworking</a:t>
            </a:r>
            <a:r>
              <a:rPr lang="de-CH" dirty="0"/>
              <a:t>: Menschen aus unterschiedlichen Unternehmen arbeiten miteinan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Nicht nur für Grossunternehmen, sondern auch für Freelancer, wie z.B. Sandr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Er freut sich, dass Markus auch im </a:t>
            </a:r>
            <a:r>
              <a:rPr lang="de-CH" dirty="0" err="1"/>
              <a:t>VillageOffice</a:t>
            </a:r>
            <a:r>
              <a:rPr lang="de-CH" dirty="0"/>
              <a:t> arbeitet. Er ist ein alter Schulkollege, mit der er ein Projekt besprechen kan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4988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So könnte ein </a:t>
            </a:r>
            <a:r>
              <a:rPr lang="de-CH" dirty="0" err="1"/>
              <a:t>VillageOffice</a:t>
            </a:r>
            <a:r>
              <a:rPr lang="de-CH" dirty="0"/>
              <a:t> ausse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Verschiedene Zonen: Begegnungszone (Austausch, Vernetzung), Sitzungszimmer, abgetrennte Bereiche für ruhiges </a:t>
            </a:r>
            <a:r>
              <a:rPr lang="de-CH" dirty="0" err="1"/>
              <a:t>Arbeigen</a:t>
            </a:r>
            <a:r>
              <a:rPr lang="de-CH" dirty="0"/>
              <a:t>, Corporate-</a:t>
            </a:r>
            <a:r>
              <a:rPr lang="de-CH" dirty="0" err="1"/>
              <a:t>Zones</a:t>
            </a:r>
            <a:r>
              <a:rPr lang="de-CH" dirty="0"/>
              <a:t> für ganze Tea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(Bild ist von </a:t>
            </a:r>
            <a:r>
              <a:rPr lang="de-CH" dirty="0" err="1"/>
              <a:t>WeWork</a:t>
            </a:r>
            <a:r>
              <a:rPr lang="de-CH" dirty="0"/>
              <a:t>, dem globalen Leader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730674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Caroline schickt Jean-Pierre ein SMS, dass er noch ein Brot zum Mittagessen mitbringen so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Die Bäckerin freut sich über die vielen «Knowledge Worker», die jetzt wieder mehr im Dorf arbei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Mehr Leben, mehr Zeit für Familie und Vereine, mehr Brot verkauft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09118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Auf der Rückfahrt zum Mittagessen denkt er an die Zeit vor </a:t>
            </a:r>
            <a:r>
              <a:rPr lang="de-CH" dirty="0" err="1"/>
              <a:t>VillageOffice</a:t>
            </a:r>
            <a:r>
              <a:rPr lang="de-CH" dirty="0"/>
              <a:t> zurü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Zuerst mit dem Auto an den nächsten Bahnho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Teurer Parkpla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Im überfüllten Zug nach Zürich -&gt; Stress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Zum Glück ist das Vergangenheit, dank </a:t>
            </a:r>
            <a:r>
              <a:rPr lang="de-CH" dirty="0" err="1"/>
              <a:t>VillageOffice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53C49-3B40-434F-B9D0-12B6D0132F4B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97741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ir erleben die Geburt einer neuen Gesellschaft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Übergang von Industriegesellschaft in die digitale Gesellschaft, gleiche Grössenordnung wie vor 150-200 Jah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Wiederum ausgelöst durch Technologi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Nichts bleibt von diesem Wandel unangetastet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Und dennoch, noch heute sind wir auf der Arbeit im gleichen Muster, wie vor 150 Jahren: Wir fahren in die «Fabrik», obwohl dort schon längst keine Fabriken mehr ste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50% der Arbeitnehmer könnten heute schon ortsunabhängig 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21BD96-04A2-4C2E-B545-7F094146E657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68993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187325"/>
            <a:ext cx="3805237" cy="2141538"/>
          </a:xfrm>
          <a:ln/>
        </p:spPr>
      </p:sp>
      <p:sp>
        <p:nvSpPr>
          <p:cNvPr id="5" name="Notizenplatzhalter 2"/>
          <p:cNvSpPr>
            <a:spLocks noGrp="1"/>
          </p:cNvSpPr>
          <p:nvPr>
            <p:ph type="body" idx="3"/>
          </p:nvPr>
        </p:nvSpPr>
        <p:spPr>
          <a:xfrm>
            <a:off x="3797420" y="258657"/>
            <a:ext cx="5663145" cy="6306164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Und trotzdem sehen wir jeden Tag dieses Bi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Abertausende Pendler, die viel Energie verbrauchen. Nicht nur Strom, sondern auch persönliche Energie. Pendeln stresst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/>
              <a:t>Es ist an der Zeit, dieses Verhalten zu hinterfra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dirty="0" err="1"/>
              <a:t>VillageOffice</a:t>
            </a:r>
            <a:r>
              <a:rPr lang="de-CH" dirty="0"/>
              <a:t> bietet eine sinnvolle Alternative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15F02-F07A-4D2A-80EE-5D069B6D9B13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1882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2508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7607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1126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7992" b="12303"/>
          <a:stretch/>
        </p:blipFill>
        <p:spPr>
          <a:xfrm>
            <a:off x="0" y="0"/>
            <a:ext cx="12192000" cy="545941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t">
            <a:noAutofit/>
          </a:bodyPr>
          <a:lstStyle>
            <a:lvl1pPr>
              <a:defRPr sz="12000" b="1">
                <a:solidFill>
                  <a:srgbClr val="CA016E"/>
                </a:solidFill>
                <a:latin typeface="+mn-lt"/>
              </a:defRPr>
            </a:lvl1pPr>
          </a:lstStyle>
          <a:p>
            <a:r>
              <a:rPr lang="de-DE" dirty="0"/>
              <a:t>Zwischentitel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4048888-F0EE-414B-BC9B-5A944603CF3D}" type="datetime1">
              <a:rPr lang="de-CH" smtClean="0"/>
              <a:t>07.02.2017</a:t>
            </a:fld>
            <a:r>
              <a:rPr lang="de-CH"/>
              <a:t> </a:t>
            </a:r>
            <a:r>
              <a:rPr lang="de-CH" dirty="0"/>
              <a:t>/ </a:t>
            </a:r>
            <a:fld id="{81581E3F-BA19-4C70-B6CA-30F6F4A96227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7384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DB1393A-CA37-4697-91F1-5D058537AF73}" type="datetimeFigureOut">
              <a:rPr lang="de-CH" smtClean="0"/>
              <a:pPr/>
              <a:t>07.0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81E3F-BA19-4C70-B6CA-30F6F4A96227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282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1292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96035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928093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86959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5618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05135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20822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6067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B1393A-CA37-4697-91F1-5D058537AF73}" type="datetimeFigureOut">
              <a:rPr lang="de-CH" smtClean="0"/>
              <a:t>07.02.2017</a:t>
            </a:fld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581E3F-BA19-4C70-B6CA-30F6F4A96227}" type="slidenum">
              <a:rPr lang="de-CH" smtClean="0"/>
              <a:t>‹Nr.›</a:t>
            </a:fld>
            <a:endParaRPr lang="de-CH"/>
          </a:p>
        </p:txBody>
      </p:sp>
      <p:pic>
        <p:nvPicPr>
          <p:cNvPr id="7" name="Picture 2" descr="VillageOffice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84928" y="5432389"/>
            <a:ext cx="2139622" cy="1425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2192000" cy="5432389"/>
          </a:xfrm>
          <a:prstGeom prst="rect">
            <a:avLst/>
          </a:prstGeom>
          <a:gradFill>
            <a:gsLst>
              <a:gs pos="0">
                <a:srgbClr val="475418"/>
              </a:gs>
              <a:gs pos="100000">
                <a:srgbClr val="9EBC36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de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heSans Swissco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702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4.xml"/><Relationship Id="rId7" Type="http://schemas.openxmlformats.org/officeDocument/2006/relationships/image" Target="../media/image16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video" Target="../media/media1.mp4"/><Relationship Id="rId11" Type="http://schemas.openxmlformats.org/officeDocument/2006/relationships/image" Target="../media/image19.png"/><Relationship Id="rId5" Type="http://schemas.microsoft.com/office/2007/relationships/media" Target="../media/media1.mp4"/><Relationship Id="rId10" Type="http://schemas.openxmlformats.org/officeDocument/2006/relationships/image" Target="../media/image18.emf"/><Relationship Id="rId4" Type="http://schemas.openxmlformats.org/officeDocument/2006/relationships/tags" Target="../tags/tag7.xml"/><Relationship Id="rId9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-94479"/>
            <a:ext cx="12192000" cy="39720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68488" y="1237396"/>
            <a:ext cx="12053102" cy="2159936"/>
          </a:xfrm>
        </p:spPr>
        <p:txBody>
          <a:bodyPr>
            <a:normAutofit/>
          </a:bodyPr>
          <a:lstStyle/>
          <a:p>
            <a:pPr algn="l"/>
            <a:r>
              <a:rPr lang="de-CH" sz="7000" b="1" dirty="0" err="1">
                <a:solidFill>
                  <a:srgbClr val="9EBC36"/>
                </a:solidFill>
              </a:rPr>
              <a:t>VillageOffice</a:t>
            </a:r>
            <a:br>
              <a:rPr lang="de-CH" sz="5000" dirty="0">
                <a:solidFill>
                  <a:srgbClr val="C00000"/>
                </a:solidFill>
              </a:rPr>
            </a:br>
            <a:r>
              <a:rPr lang="de-CH" sz="5000" dirty="0">
                <a:solidFill>
                  <a:srgbClr val="C00000"/>
                </a:solidFill>
              </a:rPr>
              <a:t>Work </a:t>
            </a:r>
            <a:r>
              <a:rPr lang="de-CH" sz="5000" dirty="0" err="1">
                <a:solidFill>
                  <a:srgbClr val="C00000"/>
                </a:solidFill>
              </a:rPr>
              <a:t>where</a:t>
            </a:r>
            <a:r>
              <a:rPr lang="de-CH" sz="5000" dirty="0">
                <a:solidFill>
                  <a:srgbClr val="C00000"/>
                </a:solidFill>
              </a:rPr>
              <a:t> </a:t>
            </a:r>
            <a:r>
              <a:rPr lang="de-CH" sz="5000" dirty="0" err="1">
                <a:solidFill>
                  <a:srgbClr val="C00000"/>
                </a:solidFill>
              </a:rPr>
              <a:t>you</a:t>
            </a:r>
            <a:r>
              <a:rPr lang="de-CH" sz="5000" dirty="0">
                <a:solidFill>
                  <a:srgbClr val="C00000"/>
                </a:solidFill>
              </a:rPr>
              <a:t> live!</a:t>
            </a:r>
          </a:p>
        </p:txBody>
      </p:sp>
      <p:pic>
        <p:nvPicPr>
          <p:cNvPr id="5" name="Picture 2" descr="VillageOffic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85445" y="-199481"/>
            <a:ext cx="2139622" cy="1425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80" b="31205"/>
          <a:stretch/>
        </p:blipFill>
        <p:spPr>
          <a:xfrm>
            <a:off x="0" y="3888807"/>
            <a:ext cx="12197678" cy="296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8302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75418"/>
              </a:gs>
              <a:gs pos="100000">
                <a:srgbClr val="9EBC36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de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heSans Swisscom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316" y="658587"/>
            <a:ext cx="3600000" cy="239928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417" y="658587"/>
            <a:ext cx="3600000" cy="239928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7518" y="658587"/>
            <a:ext cx="3600000" cy="2400300"/>
          </a:xfrm>
          <a:prstGeom prst="rect">
            <a:avLst/>
          </a:prstGeom>
        </p:spPr>
      </p:pic>
      <p:sp>
        <p:nvSpPr>
          <p:cNvPr id="13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10319" y="4810633"/>
            <a:ext cx="3025775" cy="1232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72000" rIns="72000" bIns="72000"/>
          <a:lstStyle/>
          <a:p>
            <a:pPr algn="ctr"/>
            <a:r>
              <a:rPr lang="de-DE" sz="6000" dirty="0">
                <a:solidFill>
                  <a:schemeClr val="bg1"/>
                </a:solidFill>
                <a:latin typeface="+mj-lt"/>
                <a:ea typeface="MS PGothic"/>
                <a:cs typeface="Arial" charset="0"/>
              </a:rPr>
              <a:t>Dampf-</a:t>
            </a:r>
            <a:br>
              <a:rPr lang="de-DE" sz="6000" dirty="0">
                <a:solidFill>
                  <a:schemeClr val="bg1"/>
                </a:solidFill>
                <a:latin typeface="+mj-lt"/>
                <a:ea typeface="MS PGothic"/>
                <a:cs typeface="Arial" charset="0"/>
              </a:rPr>
            </a:br>
            <a:r>
              <a:rPr lang="de-DE" sz="6000" dirty="0">
                <a:solidFill>
                  <a:schemeClr val="bg1"/>
                </a:solidFill>
                <a:latin typeface="+mj-lt"/>
                <a:ea typeface="MS PGothic"/>
                <a:cs typeface="Arial" charset="0"/>
              </a:rPr>
              <a:t>Maschine</a:t>
            </a:r>
          </a:p>
        </p:txBody>
      </p:sp>
      <p:sp>
        <p:nvSpPr>
          <p:cNvPr id="14" name="Freeform 9"/>
          <p:cNvSpPr>
            <a:spLocks/>
          </p:cNvSpPr>
          <p:nvPr/>
        </p:nvSpPr>
        <p:spPr bwMode="gray">
          <a:xfrm flipV="1">
            <a:off x="2222655" y="3631582"/>
            <a:ext cx="2801104" cy="1221407"/>
          </a:xfrm>
          <a:custGeom>
            <a:avLst/>
            <a:gdLst>
              <a:gd name="T0" fmla="*/ 2187 w 4163"/>
              <a:gd name="T1" fmla="*/ 1 h 1509"/>
              <a:gd name="T2" fmla="*/ 2376 w 4163"/>
              <a:gd name="T3" fmla="*/ 15 h 1509"/>
              <a:gd name="T4" fmla="*/ 2560 w 4163"/>
              <a:gd name="T5" fmla="*/ 41 h 1509"/>
              <a:gd name="T6" fmla="*/ 2741 w 4163"/>
              <a:gd name="T7" fmla="*/ 80 h 1509"/>
              <a:gd name="T8" fmla="*/ 2917 w 4163"/>
              <a:gd name="T9" fmla="*/ 132 h 1509"/>
              <a:gd name="T10" fmla="*/ 3085 w 4163"/>
              <a:gd name="T11" fmla="*/ 194 h 1509"/>
              <a:gd name="T12" fmla="*/ 3245 w 4163"/>
              <a:gd name="T13" fmla="*/ 266 h 1509"/>
              <a:gd name="T14" fmla="*/ 3396 w 4163"/>
              <a:gd name="T15" fmla="*/ 348 h 1509"/>
              <a:gd name="T16" fmla="*/ 3537 w 4163"/>
              <a:gd name="T17" fmla="*/ 438 h 1509"/>
              <a:gd name="T18" fmla="*/ 3665 w 4163"/>
              <a:gd name="T19" fmla="*/ 537 h 1509"/>
              <a:gd name="T20" fmla="*/ 3781 w 4163"/>
              <a:gd name="T21" fmla="*/ 642 h 1509"/>
              <a:gd name="T22" fmla="*/ 3882 w 4163"/>
              <a:gd name="T23" fmla="*/ 753 h 1509"/>
              <a:gd name="T24" fmla="*/ 4030 w 4163"/>
              <a:gd name="T25" fmla="*/ 1495 h 1509"/>
              <a:gd name="T26" fmla="*/ 3335 w 4163"/>
              <a:gd name="T27" fmla="*/ 1161 h 1509"/>
              <a:gd name="T28" fmla="*/ 3248 w 4163"/>
              <a:gd name="T29" fmla="*/ 1031 h 1509"/>
              <a:gd name="T30" fmla="*/ 3144 w 4163"/>
              <a:gd name="T31" fmla="*/ 908 h 1509"/>
              <a:gd name="T32" fmla="*/ 3025 w 4163"/>
              <a:gd name="T33" fmla="*/ 796 h 1509"/>
              <a:gd name="T34" fmla="*/ 2894 w 4163"/>
              <a:gd name="T35" fmla="*/ 695 h 1509"/>
              <a:gd name="T36" fmla="*/ 2750 w 4163"/>
              <a:gd name="T37" fmla="*/ 604 h 1509"/>
              <a:gd name="T38" fmla="*/ 2597 w 4163"/>
              <a:gd name="T39" fmla="*/ 525 h 1509"/>
              <a:gd name="T40" fmla="*/ 2434 w 4163"/>
              <a:gd name="T41" fmla="*/ 461 h 1509"/>
              <a:gd name="T42" fmla="*/ 2264 w 4163"/>
              <a:gd name="T43" fmla="*/ 409 h 1509"/>
              <a:gd name="T44" fmla="*/ 2089 w 4163"/>
              <a:gd name="T45" fmla="*/ 372 h 1509"/>
              <a:gd name="T46" fmla="*/ 1909 w 4163"/>
              <a:gd name="T47" fmla="*/ 351 h 1509"/>
              <a:gd name="T48" fmla="*/ 1726 w 4163"/>
              <a:gd name="T49" fmla="*/ 347 h 1509"/>
              <a:gd name="T50" fmla="*/ 1541 w 4163"/>
              <a:gd name="T51" fmla="*/ 360 h 1509"/>
              <a:gd name="T52" fmla="*/ 1357 w 4163"/>
              <a:gd name="T53" fmla="*/ 390 h 1509"/>
              <a:gd name="T54" fmla="*/ 1174 w 4163"/>
              <a:gd name="T55" fmla="*/ 441 h 1509"/>
              <a:gd name="T56" fmla="*/ 994 w 4163"/>
              <a:gd name="T57" fmla="*/ 510 h 1509"/>
              <a:gd name="T58" fmla="*/ 819 w 4163"/>
              <a:gd name="T59" fmla="*/ 601 h 1509"/>
              <a:gd name="T60" fmla="*/ 650 w 4163"/>
              <a:gd name="T61" fmla="*/ 714 h 1509"/>
              <a:gd name="T62" fmla="*/ 487 w 4163"/>
              <a:gd name="T63" fmla="*/ 848 h 1509"/>
              <a:gd name="T64" fmla="*/ 334 w 4163"/>
              <a:gd name="T65" fmla="*/ 1006 h 1509"/>
              <a:gd name="T66" fmla="*/ 191 w 4163"/>
              <a:gd name="T67" fmla="*/ 1188 h 1509"/>
              <a:gd name="T68" fmla="*/ 61 w 4163"/>
              <a:gd name="T69" fmla="*/ 1395 h 1509"/>
              <a:gd name="T70" fmla="*/ 51 w 4163"/>
              <a:gd name="T71" fmla="*/ 1385 h 1509"/>
              <a:gd name="T72" fmla="*/ 162 w 4163"/>
              <a:gd name="T73" fmla="*/ 1156 h 1509"/>
              <a:gd name="T74" fmla="*/ 286 w 4163"/>
              <a:gd name="T75" fmla="*/ 950 h 1509"/>
              <a:gd name="T76" fmla="*/ 424 w 4163"/>
              <a:gd name="T77" fmla="*/ 766 h 1509"/>
              <a:gd name="T78" fmla="*/ 571 w 4163"/>
              <a:gd name="T79" fmla="*/ 604 h 1509"/>
              <a:gd name="T80" fmla="*/ 729 w 4163"/>
              <a:gd name="T81" fmla="*/ 463 h 1509"/>
              <a:gd name="T82" fmla="*/ 895 w 4163"/>
              <a:gd name="T83" fmla="*/ 343 h 1509"/>
              <a:gd name="T84" fmla="*/ 1068 w 4163"/>
              <a:gd name="T85" fmla="*/ 242 h 1509"/>
              <a:gd name="T86" fmla="*/ 1248 w 4163"/>
              <a:gd name="T87" fmla="*/ 160 h 1509"/>
              <a:gd name="T88" fmla="*/ 1431 w 4163"/>
              <a:gd name="T89" fmla="*/ 96 h 1509"/>
              <a:gd name="T90" fmla="*/ 1618 w 4163"/>
              <a:gd name="T91" fmla="*/ 48 h 1509"/>
              <a:gd name="T92" fmla="*/ 1808 w 4163"/>
              <a:gd name="T93" fmla="*/ 17 h 1509"/>
              <a:gd name="T94" fmla="*/ 1998 w 4163"/>
              <a:gd name="T95" fmla="*/ 2 h 1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C10169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139519" y="4810633"/>
            <a:ext cx="3025775" cy="1232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2000" tIns="72000" rIns="72000" bIns="72000"/>
          <a:lstStyle/>
          <a:p>
            <a:pPr algn="ctr"/>
            <a:r>
              <a:rPr lang="de-DE" sz="6000" dirty="0">
                <a:solidFill>
                  <a:schemeClr val="bg1"/>
                </a:solidFill>
                <a:latin typeface="+mj-lt"/>
                <a:ea typeface="MS PGothic"/>
                <a:cs typeface="Arial" charset="0"/>
              </a:rPr>
              <a:t>Internet</a:t>
            </a:r>
          </a:p>
        </p:txBody>
      </p:sp>
      <p:sp>
        <p:nvSpPr>
          <p:cNvPr id="18" name="Freeform 9"/>
          <p:cNvSpPr>
            <a:spLocks/>
          </p:cNvSpPr>
          <p:nvPr/>
        </p:nvSpPr>
        <p:spPr bwMode="gray">
          <a:xfrm flipV="1">
            <a:off x="7251855" y="3631582"/>
            <a:ext cx="2801104" cy="1221407"/>
          </a:xfrm>
          <a:custGeom>
            <a:avLst/>
            <a:gdLst>
              <a:gd name="T0" fmla="*/ 2187 w 4163"/>
              <a:gd name="T1" fmla="*/ 1 h 1509"/>
              <a:gd name="T2" fmla="*/ 2376 w 4163"/>
              <a:gd name="T3" fmla="*/ 15 h 1509"/>
              <a:gd name="T4" fmla="*/ 2560 w 4163"/>
              <a:gd name="T5" fmla="*/ 41 h 1509"/>
              <a:gd name="T6" fmla="*/ 2741 w 4163"/>
              <a:gd name="T7" fmla="*/ 80 h 1509"/>
              <a:gd name="T8" fmla="*/ 2917 w 4163"/>
              <a:gd name="T9" fmla="*/ 132 h 1509"/>
              <a:gd name="T10" fmla="*/ 3085 w 4163"/>
              <a:gd name="T11" fmla="*/ 194 h 1509"/>
              <a:gd name="T12" fmla="*/ 3245 w 4163"/>
              <a:gd name="T13" fmla="*/ 266 h 1509"/>
              <a:gd name="T14" fmla="*/ 3396 w 4163"/>
              <a:gd name="T15" fmla="*/ 348 h 1509"/>
              <a:gd name="T16" fmla="*/ 3537 w 4163"/>
              <a:gd name="T17" fmla="*/ 438 h 1509"/>
              <a:gd name="T18" fmla="*/ 3665 w 4163"/>
              <a:gd name="T19" fmla="*/ 537 h 1509"/>
              <a:gd name="T20" fmla="*/ 3781 w 4163"/>
              <a:gd name="T21" fmla="*/ 642 h 1509"/>
              <a:gd name="T22" fmla="*/ 3882 w 4163"/>
              <a:gd name="T23" fmla="*/ 753 h 1509"/>
              <a:gd name="T24" fmla="*/ 4030 w 4163"/>
              <a:gd name="T25" fmla="*/ 1495 h 1509"/>
              <a:gd name="T26" fmla="*/ 3335 w 4163"/>
              <a:gd name="T27" fmla="*/ 1161 h 1509"/>
              <a:gd name="T28" fmla="*/ 3248 w 4163"/>
              <a:gd name="T29" fmla="*/ 1031 h 1509"/>
              <a:gd name="T30" fmla="*/ 3144 w 4163"/>
              <a:gd name="T31" fmla="*/ 908 h 1509"/>
              <a:gd name="T32" fmla="*/ 3025 w 4163"/>
              <a:gd name="T33" fmla="*/ 796 h 1509"/>
              <a:gd name="T34" fmla="*/ 2894 w 4163"/>
              <a:gd name="T35" fmla="*/ 695 h 1509"/>
              <a:gd name="T36" fmla="*/ 2750 w 4163"/>
              <a:gd name="T37" fmla="*/ 604 h 1509"/>
              <a:gd name="T38" fmla="*/ 2597 w 4163"/>
              <a:gd name="T39" fmla="*/ 525 h 1509"/>
              <a:gd name="T40" fmla="*/ 2434 w 4163"/>
              <a:gd name="T41" fmla="*/ 461 h 1509"/>
              <a:gd name="T42" fmla="*/ 2264 w 4163"/>
              <a:gd name="T43" fmla="*/ 409 h 1509"/>
              <a:gd name="T44" fmla="*/ 2089 w 4163"/>
              <a:gd name="T45" fmla="*/ 372 h 1509"/>
              <a:gd name="T46" fmla="*/ 1909 w 4163"/>
              <a:gd name="T47" fmla="*/ 351 h 1509"/>
              <a:gd name="T48" fmla="*/ 1726 w 4163"/>
              <a:gd name="T49" fmla="*/ 347 h 1509"/>
              <a:gd name="T50" fmla="*/ 1541 w 4163"/>
              <a:gd name="T51" fmla="*/ 360 h 1509"/>
              <a:gd name="T52" fmla="*/ 1357 w 4163"/>
              <a:gd name="T53" fmla="*/ 390 h 1509"/>
              <a:gd name="T54" fmla="*/ 1174 w 4163"/>
              <a:gd name="T55" fmla="*/ 441 h 1509"/>
              <a:gd name="T56" fmla="*/ 994 w 4163"/>
              <a:gd name="T57" fmla="*/ 510 h 1509"/>
              <a:gd name="T58" fmla="*/ 819 w 4163"/>
              <a:gd name="T59" fmla="*/ 601 h 1509"/>
              <a:gd name="T60" fmla="*/ 650 w 4163"/>
              <a:gd name="T61" fmla="*/ 714 h 1509"/>
              <a:gd name="T62" fmla="*/ 487 w 4163"/>
              <a:gd name="T63" fmla="*/ 848 h 1509"/>
              <a:gd name="T64" fmla="*/ 334 w 4163"/>
              <a:gd name="T65" fmla="*/ 1006 h 1509"/>
              <a:gd name="T66" fmla="*/ 191 w 4163"/>
              <a:gd name="T67" fmla="*/ 1188 h 1509"/>
              <a:gd name="T68" fmla="*/ 61 w 4163"/>
              <a:gd name="T69" fmla="*/ 1395 h 1509"/>
              <a:gd name="T70" fmla="*/ 51 w 4163"/>
              <a:gd name="T71" fmla="*/ 1385 h 1509"/>
              <a:gd name="T72" fmla="*/ 162 w 4163"/>
              <a:gd name="T73" fmla="*/ 1156 h 1509"/>
              <a:gd name="T74" fmla="*/ 286 w 4163"/>
              <a:gd name="T75" fmla="*/ 950 h 1509"/>
              <a:gd name="T76" fmla="*/ 424 w 4163"/>
              <a:gd name="T77" fmla="*/ 766 h 1509"/>
              <a:gd name="T78" fmla="*/ 571 w 4163"/>
              <a:gd name="T79" fmla="*/ 604 h 1509"/>
              <a:gd name="T80" fmla="*/ 729 w 4163"/>
              <a:gd name="T81" fmla="*/ 463 h 1509"/>
              <a:gd name="T82" fmla="*/ 895 w 4163"/>
              <a:gd name="T83" fmla="*/ 343 h 1509"/>
              <a:gd name="T84" fmla="*/ 1068 w 4163"/>
              <a:gd name="T85" fmla="*/ 242 h 1509"/>
              <a:gd name="T86" fmla="*/ 1248 w 4163"/>
              <a:gd name="T87" fmla="*/ 160 h 1509"/>
              <a:gd name="T88" fmla="*/ 1431 w 4163"/>
              <a:gd name="T89" fmla="*/ 96 h 1509"/>
              <a:gd name="T90" fmla="*/ 1618 w 4163"/>
              <a:gd name="T91" fmla="*/ 48 h 1509"/>
              <a:gd name="T92" fmla="*/ 1808 w 4163"/>
              <a:gd name="T93" fmla="*/ 17 h 1509"/>
              <a:gd name="T94" fmla="*/ 1998 w 4163"/>
              <a:gd name="T95" fmla="*/ 2 h 1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C10169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endParaRPr lang="de-DE"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793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400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2" name="Objek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2" y="1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47" name="VctRoadmap_ID_390227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43587" y="88900"/>
            <a:ext cx="3924300" cy="184666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spAutoFit/>
          </a:bodyPr>
          <a:lstStyle/>
          <a:p>
            <a:pPr algn="r"/>
            <a:r>
              <a:rPr lang="de-DE" sz="1200" b="1" i="1">
                <a:solidFill>
                  <a:srgbClr val="000000"/>
                </a:solidFill>
                <a:latin typeface="Arial"/>
                <a:cs typeface="Arial" charset="0"/>
              </a:rPr>
              <a:t>2</a:t>
            </a:r>
          </a:p>
        </p:txBody>
      </p:sp>
      <p:pic>
        <p:nvPicPr>
          <p:cNvPr id="23" name="Zurich Wakes Up-SD">
            <a:hlinkClick r:id="" action="ppaction://media"/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785620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8033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3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3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?</a:t>
            </a:r>
          </a:p>
        </p:txBody>
      </p:sp>
    </p:spTree>
    <p:extLst>
      <p:ext uri="{BB962C8B-B14F-4D97-AF65-F5344CB8AC3E}">
        <p14:creationId xmlns:p14="http://schemas.microsoft.com/office/powerpoint/2010/main" val="274488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 err="1">
                <a:solidFill>
                  <a:prstClr val="white"/>
                </a:solidFill>
                <a:latin typeface="Calibri" panose="020F0502020204030204"/>
              </a:rPr>
              <a:t>Coworking</a:t>
            </a:r>
            <a:br>
              <a:rPr lang="de-CH" b="1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de-CH" dirty="0">
                <a:solidFill>
                  <a:prstClr val="white"/>
                </a:solidFill>
                <a:latin typeface="Calibri" panose="020F0502020204030204"/>
              </a:rPr>
              <a:t>Ein globaler Trend erfasst die Schweiz</a:t>
            </a:r>
            <a:endParaRPr lang="de-CH" dirty="0"/>
          </a:p>
        </p:txBody>
      </p:sp>
      <p:pic>
        <p:nvPicPr>
          <p:cNvPr id="3" name="Shape 179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13037" y="1690688"/>
            <a:ext cx="5165925" cy="34973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10200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475418"/>
              </a:gs>
              <a:gs pos="100000">
                <a:srgbClr val="9EBC36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de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heSans Swisscom" pitchFamily="34" charset="0"/>
            </a:endParaRPr>
          </a:p>
        </p:txBody>
      </p:sp>
      <p:sp>
        <p:nvSpPr>
          <p:cNvPr id="17" name="Ellipse 16"/>
          <p:cNvSpPr/>
          <p:nvPr/>
        </p:nvSpPr>
        <p:spPr bwMode="gray">
          <a:xfrm>
            <a:off x="3797291" y="4589685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Politik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Ellipse 13"/>
          <p:cNvSpPr/>
          <p:nvPr/>
        </p:nvSpPr>
        <p:spPr bwMode="gray">
          <a:xfrm>
            <a:off x="277418" y="594631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Mitglieder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Ellipse 14"/>
          <p:cNvSpPr/>
          <p:nvPr/>
        </p:nvSpPr>
        <p:spPr bwMode="gray">
          <a:xfrm>
            <a:off x="29768" y="2360566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Service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Ellipse 15"/>
          <p:cNvSpPr/>
          <p:nvPr/>
        </p:nvSpPr>
        <p:spPr bwMode="gray">
          <a:xfrm>
            <a:off x="163118" y="4094385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Investoren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Ellipse 19"/>
          <p:cNvSpPr/>
          <p:nvPr/>
        </p:nvSpPr>
        <p:spPr bwMode="gray">
          <a:xfrm>
            <a:off x="7535468" y="594631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Grosskunden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Ellipse 20"/>
          <p:cNvSpPr/>
          <p:nvPr/>
        </p:nvSpPr>
        <p:spPr bwMode="gray">
          <a:xfrm>
            <a:off x="3797291" y="63134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 err="1">
                <a:solidFill>
                  <a:schemeClr val="bg1"/>
                </a:solidFill>
                <a:latin typeface="+mj-lt"/>
              </a:rPr>
              <a:t>Coworking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Ellipse 18"/>
          <p:cNvSpPr/>
          <p:nvPr/>
        </p:nvSpPr>
        <p:spPr bwMode="gray">
          <a:xfrm>
            <a:off x="7821218" y="2360566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KMU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Ellipse 17"/>
          <p:cNvSpPr/>
          <p:nvPr/>
        </p:nvSpPr>
        <p:spPr bwMode="gray">
          <a:xfrm>
            <a:off x="7516418" y="4202700"/>
            <a:ext cx="4320000" cy="2160000"/>
          </a:xfrm>
          <a:prstGeom prst="ellipse">
            <a:avLst/>
          </a:prstGeom>
          <a:solidFill>
            <a:srgbClr val="C10169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4000" b="1" dirty="0">
                <a:solidFill>
                  <a:schemeClr val="bg1"/>
                </a:solidFill>
                <a:latin typeface="+mj-lt"/>
              </a:rPr>
              <a:t>Immobilien</a:t>
            </a:r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Ellipse 21"/>
          <p:cNvSpPr/>
          <p:nvPr/>
        </p:nvSpPr>
        <p:spPr bwMode="gray">
          <a:xfrm>
            <a:off x="3162300" y="2000250"/>
            <a:ext cx="5807741" cy="2952750"/>
          </a:xfrm>
          <a:prstGeom prst="ellipse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CH" sz="4000" dirty="0" err="1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" name="Picture 2" descr="VillageOffic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1288" y="2145506"/>
            <a:ext cx="3852653" cy="256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79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VillageOffice</a:t>
            </a:r>
            <a:r>
              <a:rPr lang="de-CH" dirty="0"/>
              <a:t> Genossenscha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Gegründet am 23.02.2016 mit 9 Co-</a:t>
            </a:r>
            <a:r>
              <a:rPr lang="de-CH" dirty="0" err="1"/>
              <a:t>Founder</a:t>
            </a:r>
            <a:endParaRPr lang="de-CH" dirty="0"/>
          </a:p>
          <a:p>
            <a:r>
              <a:rPr lang="de-CH" dirty="0"/>
              <a:t>Erste Finanzierungsrunde abgeschlossen: Engagement Migros, Schweizerische Eidgenossenschaft (KOMO) und Alternative Bank</a:t>
            </a:r>
          </a:p>
          <a:p>
            <a:r>
              <a:rPr lang="de-CH" dirty="0"/>
              <a:t>16 Partner, Kernteam 6 Partner, aktuell 4,3 FTE</a:t>
            </a:r>
          </a:p>
          <a:p>
            <a:r>
              <a:rPr lang="de-CH" dirty="0"/>
              <a:t>Genossenschaft, gewinnorientiert (Gewinne werden reinvestiert)</a:t>
            </a:r>
          </a:p>
          <a:p>
            <a:pPr marL="0" indent="0">
              <a:buNone/>
            </a:pP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2049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Questrial"/>
                <a:ea typeface="Questrial"/>
                <a:cs typeface="Questrial"/>
                <a:sym typeface="Questrial"/>
              </a:rPr>
              <a:t>Roadmap</a:t>
            </a:r>
            <a:endParaRPr lang="de-CH" dirty="0"/>
          </a:p>
        </p:txBody>
      </p:sp>
      <p:cxnSp>
        <p:nvCxnSpPr>
          <p:cNvPr id="5" name="Shape 588"/>
          <p:cNvCxnSpPr/>
          <p:nvPr/>
        </p:nvCxnSpPr>
        <p:spPr>
          <a:xfrm>
            <a:off x="656536" y="4894871"/>
            <a:ext cx="10878928" cy="0"/>
          </a:xfrm>
          <a:prstGeom prst="straightConnector1">
            <a:avLst/>
          </a:prstGeom>
          <a:noFill/>
          <a:ln w="57150" cap="flat" cmpd="sng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</p:spPr>
      </p:cxnSp>
      <p:sp>
        <p:nvSpPr>
          <p:cNvPr id="6" name="Shape 589"/>
          <p:cNvSpPr txBox="1"/>
          <p:nvPr/>
        </p:nvSpPr>
        <p:spPr>
          <a:xfrm>
            <a:off x="646962" y="4951486"/>
            <a:ext cx="1129288" cy="35294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6300"/>
              </a:buClr>
              <a:buSzPct val="25000"/>
              <a:buFont typeface="Arial"/>
              <a:buNone/>
            </a:pPr>
            <a:r>
              <a:rPr lang="de-DE" sz="2400" b="1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2016</a:t>
            </a:r>
          </a:p>
        </p:txBody>
      </p:sp>
      <p:sp>
        <p:nvSpPr>
          <p:cNvPr id="7" name="Shape 590"/>
          <p:cNvSpPr txBox="1"/>
          <p:nvPr/>
        </p:nvSpPr>
        <p:spPr>
          <a:xfrm>
            <a:off x="4429867" y="4951486"/>
            <a:ext cx="1282404" cy="30777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6300"/>
              </a:buClr>
              <a:buSzPct val="25000"/>
              <a:buFont typeface="Arial"/>
              <a:buNone/>
            </a:pPr>
            <a:r>
              <a:rPr lang="de-DE" sz="2400" b="1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2017</a:t>
            </a:r>
          </a:p>
        </p:txBody>
      </p:sp>
      <p:sp>
        <p:nvSpPr>
          <p:cNvPr id="8" name="Shape 591"/>
          <p:cNvSpPr txBox="1"/>
          <p:nvPr/>
        </p:nvSpPr>
        <p:spPr>
          <a:xfrm>
            <a:off x="8109832" y="4971398"/>
            <a:ext cx="1286364" cy="35294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6300"/>
              </a:buClr>
              <a:buSzPct val="25000"/>
              <a:buFont typeface="Arial"/>
              <a:buNone/>
            </a:pPr>
            <a:r>
              <a:rPr lang="de-DE" sz="2400" b="1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2018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701944" y="783842"/>
            <a:ext cx="10651856" cy="4285468"/>
            <a:chOff x="701944" y="1233023"/>
            <a:chExt cx="7781692" cy="4285468"/>
          </a:xfrm>
        </p:grpSpPr>
        <p:sp>
          <p:nvSpPr>
            <p:cNvPr id="10" name="L-Form 9"/>
            <p:cNvSpPr/>
            <p:nvPr/>
          </p:nvSpPr>
          <p:spPr>
            <a:xfrm rot="5400000">
              <a:off x="1185244" y="2561880"/>
              <a:ext cx="1455773" cy="2422373"/>
            </a:xfrm>
            <a:prstGeom prst="corner">
              <a:avLst>
                <a:gd name="adj1" fmla="val 16120"/>
                <a:gd name="adj2" fmla="val 16110"/>
              </a:avLst>
            </a:prstGeom>
          </p:spPr>
          <p:style>
            <a:lnRef idx="2">
              <a:schemeClr val="accent6">
                <a:shade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Freihandform 15"/>
            <p:cNvSpPr/>
            <p:nvPr/>
          </p:nvSpPr>
          <p:spPr>
            <a:xfrm>
              <a:off x="942239" y="3281900"/>
              <a:ext cx="2186932" cy="2236591"/>
            </a:xfrm>
            <a:custGeom>
              <a:avLst/>
              <a:gdLst>
                <a:gd name="connsiteX0" fmla="*/ 0 w 2186932"/>
                <a:gd name="connsiteY0" fmla="*/ 0 h 2236591"/>
                <a:gd name="connsiteX1" fmla="*/ 2186932 w 2186932"/>
                <a:gd name="connsiteY1" fmla="*/ 0 h 2236591"/>
                <a:gd name="connsiteX2" fmla="*/ 2186932 w 2186932"/>
                <a:gd name="connsiteY2" fmla="*/ 2236591 h 2236591"/>
                <a:gd name="connsiteX3" fmla="*/ 0 w 2186932"/>
                <a:gd name="connsiteY3" fmla="*/ 2236591 h 2236591"/>
                <a:gd name="connsiteX4" fmla="*/ 0 w 2186932"/>
                <a:gd name="connsiteY4" fmla="*/ 0 h 2236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6932" h="2236591">
                  <a:moveTo>
                    <a:pt x="0" y="0"/>
                  </a:moveTo>
                  <a:lnTo>
                    <a:pt x="2186932" y="0"/>
                  </a:lnTo>
                  <a:lnTo>
                    <a:pt x="2186932" y="2236591"/>
                  </a:lnTo>
                  <a:lnTo>
                    <a:pt x="0" y="223659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lvl="0" algn="l" defTabSz="11557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400" b="1" i="0" u="none" strike="noStrike" kern="1200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Aufbaujahr</a:t>
              </a:r>
              <a:endParaRPr lang="de-DE" sz="2400" b="1" kern="1200" dirty="0">
                <a:solidFill>
                  <a:schemeClr val="bg1"/>
                </a:solidFill>
              </a:endParaRPr>
            </a:p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b="0" i="0" u="none" strike="noStrike" kern="1200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Fundraising</a:t>
              </a:r>
            </a:p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b="0" i="0" u="none" strike="noStrike" kern="1200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Produkte / Branding</a:t>
              </a:r>
            </a:p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b="0" i="0" u="none" strike="noStrike" kern="1200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Community-Aufbau</a:t>
              </a:r>
            </a:p>
            <a:p>
              <a:pPr marL="228600" lvl="1" indent="-228600" algn="l" defTabSz="8890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b="0" i="0" u="none" strike="noStrike" kern="1200" cap="none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IT-</a:t>
              </a:r>
              <a:r>
                <a:rPr lang="de-DE" sz="2000" b="0" i="0" u="none" strike="noStrike" kern="1200" cap="none" dirty="0" err="1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rPr>
                <a:t>Prototyping</a:t>
              </a:r>
              <a:endParaRPr lang="de-DE" sz="2000" b="0" i="0" u="none" strike="noStrike" kern="1200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leichschenkliges Dreieck 11"/>
            <p:cNvSpPr/>
            <p:nvPr/>
          </p:nvSpPr>
          <p:spPr>
            <a:xfrm>
              <a:off x="2716543" y="2383542"/>
              <a:ext cx="412628" cy="412628"/>
            </a:xfrm>
            <a:prstGeom prst="triangle">
              <a:avLst>
                <a:gd name="adj" fmla="val 100000"/>
              </a:avLst>
            </a:prstGeom>
          </p:spPr>
          <p:style>
            <a:lnRef idx="2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lnRef>
            <a:fillRef idx="1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fillRef>
            <a:effectRef idx="0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L-Form 12"/>
            <p:cNvSpPr/>
            <p:nvPr/>
          </p:nvSpPr>
          <p:spPr>
            <a:xfrm rot="5400000">
              <a:off x="3862476" y="1670615"/>
              <a:ext cx="1455773" cy="2422373"/>
            </a:xfrm>
            <a:prstGeom prst="corner">
              <a:avLst>
                <a:gd name="adj1" fmla="val 16120"/>
                <a:gd name="adj2" fmla="val 16110"/>
              </a:avLst>
            </a:prstGeom>
          </p:spPr>
          <p:style>
            <a:lnRef idx="2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lnRef>
            <a:fillRef idx="1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fillRef>
            <a:effectRef idx="0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Freihandform 18"/>
            <p:cNvSpPr/>
            <p:nvPr/>
          </p:nvSpPr>
          <p:spPr>
            <a:xfrm>
              <a:off x="3616825" y="2417013"/>
              <a:ext cx="2186932" cy="2374537"/>
            </a:xfrm>
            <a:custGeom>
              <a:avLst/>
              <a:gdLst>
                <a:gd name="connsiteX0" fmla="*/ 0 w 2186932"/>
                <a:gd name="connsiteY0" fmla="*/ 0 h 2374537"/>
                <a:gd name="connsiteX1" fmla="*/ 2186932 w 2186932"/>
                <a:gd name="connsiteY1" fmla="*/ 0 h 2374537"/>
                <a:gd name="connsiteX2" fmla="*/ 2186932 w 2186932"/>
                <a:gd name="connsiteY2" fmla="*/ 2374537 h 2374537"/>
                <a:gd name="connsiteX3" fmla="*/ 0 w 2186932"/>
                <a:gd name="connsiteY3" fmla="*/ 2374537 h 2374537"/>
                <a:gd name="connsiteX4" fmla="*/ 0 w 2186932"/>
                <a:gd name="connsiteY4" fmla="*/ 0 h 237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6932" h="2374537">
                  <a:moveTo>
                    <a:pt x="0" y="0"/>
                  </a:moveTo>
                  <a:lnTo>
                    <a:pt x="2186932" y="0"/>
                  </a:lnTo>
                  <a:lnTo>
                    <a:pt x="2186932" y="2374537"/>
                  </a:lnTo>
                  <a:lnTo>
                    <a:pt x="0" y="237453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t" anchorCtr="0">
              <a:noAutofit/>
            </a:bodyPr>
            <a:lstStyle/>
            <a:p>
              <a:pPr lvl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400" b="1" i="0" u="none" strike="noStrike" kern="1200" cap="none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ilotjahr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 err="1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oworking</a:t>
              </a: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Experience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ommunity Ausbau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Bau IT-Plattform</a:t>
              </a:r>
            </a:p>
          </p:txBody>
        </p:sp>
        <p:sp>
          <p:nvSpPr>
            <p:cNvPr id="15" name="Gleichschenkliges Dreieck 14"/>
            <p:cNvSpPr/>
            <p:nvPr/>
          </p:nvSpPr>
          <p:spPr>
            <a:xfrm>
              <a:off x="5393775" y="1492277"/>
              <a:ext cx="412628" cy="412628"/>
            </a:xfrm>
            <a:prstGeom prst="triangle">
              <a:avLst>
                <a:gd name="adj" fmla="val 100000"/>
              </a:avLst>
            </a:prstGeom>
          </p:spPr>
          <p:style>
            <a:lnRef idx="2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lnRef>
            <a:fillRef idx="1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fillRef>
            <a:effectRef idx="0">
              <a:schemeClr val="accent6">
                <a:shade val="50000"/>
                <a:hueOff val="225840"/>
                <a:satOff val="-6621"/>
                <a:lumOff val="3395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L-Form 15"/>
            <p:cNvSpPr/>
            <p:nvPr/>
          </p:nvSpPr>
          <p:spPr>
            <a:xfrm rot="5400000">
              <a:off x="6539709" y="749723"/>
              <a:ext cx="1455773" cy="2422373"/>
            </a:xfrm>
            <a:prstGeom prst="corner">
              <a:avLst>
                <a:gd name="adj1" fmla="val 16120"/>
                <a:gd name="adj2" fmla="val 16110"/>
              </a:avLst>
            </a:prstGeom>
          </p:spPr>
          <p:style>
            <a:lnRef idx="2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lnRef>
            <a:fillRef idx="1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fillRef>
            <a:effectRef idx="0">
              <a:schemeClr val="accent6">
                <a:shade val="50000"/>
                <a:hueOff val="112920"/>
                <a:satOff val="-3310"/>
                <a:lumOff val="1697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Freihandform 21"/>
            <p:cNvSpPr/>
            <p:nvPr/>
          </p:nvSpPr>
          <p:spPr>
            <a:xfrm>
              <a:off x="6296704" y="1482635"/>
              <a:ext cx="2186932" cy="2433790"/>
            </a:xfrm>
            <a:custGeom>
              <a:avLst/>
              <a:gdLst>
                <a:gd name="connsiteX0" fmla="*/ 0 w 2186932"/>
                <a:gd name="connsiteY0" fmla="*/ 0 h 2433790"/>
                <a:gd name="connsiteX1" fmla="*/ 2186932 w 2186932"/>
                <a:gd name="connsiteY1" fmla="*/ 0 h 2433790"/>
                <a:gd name="connsiteX2" fmla="*/ 2186932 w 2186932"/>
                <a:gd name="connsiteY2" fmla="*/ 2433790 h 2433790"/>
                <a:gd name="connsiteX3" fmla="*/ 0 w 2186932"/>
                <a:gd name="connsiteY3" fmla="*/ 2433790 h 2433790"/>
                <a:gd name="connsiteX4" fmla="*/ 0 w 2186932"/>
                <a:gd name="connsiteY4" fmla="*/ 0 h 2433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6932" h="2433790">
                  <a:moveTo>
                    <a:pt x="0" y="0"/>
                  </a:moveTo>
                  <a:lnTo>
                    <a:pt x="2186932" y="0"/>
                  </a:lnTo>
                  <a:lnTo>
                    <a:pt x="2186932" y="2433790"/>
                  </a:lnTo>
                  <a:lnTo>
                    <a:pt x="0" y="24337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2400" b="1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Normalbetrieb</a:t>
              </a: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Vollbetrieb</a:t>
              </a: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ommunity Ausba</a:t>
              </a:r>
              <a:r>
                <a:rPr lang="de-DE" sz="2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u</a:t>
              </a:r>
              <a:endParaRPr lang="de-DE" sz="2000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Optimierung</a:t>
              </a:r>
            </a:p>
            <a:p>
              <a:pPr marL="171450" lvl="1" indent="-171450" algn="l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2000" kern="12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Wirkungsfoku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3085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UNO Global Goals</a:t>
            </a:r>
            <a:br>
              <a:rPr lang="de-CH" dirty="0"/>
            </a:br>
            <a:r>
              <a:rPr lang="de-CH" b="0" dirty="0" err="1"/>
              <a:t>VillageOffice</a:t>
            </a:r>
            <a:r>
              <a:rPr lang="de-CH" b="0" dirty="0"/>
              <a:t> ist Partnerprojekt #11244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454" y="1762860"/>
            <a:ext cx="6799091" cy="351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4008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6286296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1" dirty="0">
                <a:solidFill>
                  <a:prstClr val="white"/>
                </a:solidFill>
                <a:latin typeface="Calibri" panose="020F0502020204030204"/>
              </a:rPr>
              <a:t>Core </a:t>
            </a:r>
            <a:r>
              <a:rPr lang="de-CH" b="1" dirty="0" err="1">
                <a:solidFill>
                  <a:prstClr val="white"/>
                </a:solidFill>
                <a:latin typeface="Calibri" panose="020F0502020204030204"/>
              </a:rPr>
              <a:t>Beliefs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709459" y="741217"/>
            <a:ext cx="5181600" cy="18989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2200" b="1" dirty="0">
                <a:solidFill>
                  <a:schemeClr val="bg1"/>
                </a:solidFill>
              </a:rPr>
              <a:t>Mensch</a:t>
            </a:r>
          </a:p>
          <a:p>
            <a:r>
              <a:rPr lang="de-CH" sz="2200" dirty="0">
                <a:solidFill>
                  <a:schemeClr val="bg1"/>
                </a:solidFill>
              </a:rPr>
              <a:t>Soziale Kontakte und Identifikation</a:t>
            </a:r>
          </a:p>
          <a:p>
            <a:r>
              <a:rPr lang="de-CH" sz="2200" dirty="0">
                <a:solidFill>
                  <a:schemeClr val="bg1"/>
                </a:solidFill>
              </a:rPr>
              <a:t>Selbstbestimmung</a:t>
            </a:r>
          </a:p>
          <a:p>
            <a:r>
              <a:rPr lang="de-CH" sz="2200" dirty="0">
                <a:solidFill>
                  <a:schemeClr val="bg1"/>
                </a:solidFill>
              </a:rPr>
              <a:t>Vernetzung und Innovatio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491523" y="3236501"/>
            <a:ext cx="5181600" cy="18888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CH" sz="2200" b="1" dirty="0">
                <a:solidFill>
                  <a:schemeClr val="bg1"/>
                </a:solidFill>
              </a:rPr>
              <a:t>Business</a:t>
            </a:r>
          </a:p>
          <a:p>
            <a:r>
              <a:rPr lang="de-CH" sz="2200" dirty="0">
                <a:solidFill>
                  <a:schemeClr val="bg1"/>
                </a:solidFill>
              </a:rPr>
              <a:t>Unternehmen in Netzwerken</a:t>
            </a:r>
          </a:p>
          <a:p>
            <a:r>
              <a:rPr lang="de-CH" sz="2200" dirty="0">
                <a:solidFill>
                  <a:schemeClr val="bg1"/>
                </a:solidFill>
              </a:rPr>
              <a:t>Individualisierung</a:t>
            </a:r>
          </a:p>
          <a:p>
            <a:r>
              <a:rPr lang="de-CH" sz="2200" dirty="0">
                <a:solidFill>
                  <a:schemeClr val="bg1"/>
                </a:solidFill>
              </a:rPr>
              <a:t>Tiefere und flexiblere Kosten</a:t>
            </a:r>
          </a:p>
          <a:p>
            <a:endParaRPr lang="de-CH" sz="2200" dirty="0">
              <a:solidFill>
                <a:schemeClr val="bg1"/>
              </a:solidFill>
            </a:endParaRPr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537258" y="3232091"/>
            <a:ext cx="5181600" cy="1893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CH" sz="2200" b="1" dirty="0">
                <a:solidFill>
                  <a:schemeClr val="bg1"/>
                </a:solidFill>
              </a:rPr>
              <a:t>Technik</a:t>
            </a:r>
          </a:p>
          <a:p>
            <a:r>
              <a:rPr lang="de-CH" sz="2200" dirty="0">
                <a:solidFill>
                  <a:schemeClr val="bg1"/>
                </a:solidFill>
              </a:rPr>
              <a:t>Einfluss auf Gesellschaft</a:t>
            </a:r>
          </a:p>
          <a:p>
            <a:r>
              <a:rPr lang="de-CH" sz="2200" dirty="0">
                <a:solidFill>
                  <a:schemeClr val="bg1"/>
                </a:solidFill>
              </a:rPr>
              <a:t>In allen Lebensbereichen</a:t>
            </a:r>
          </a:p>
          <a:p>
            <a:r>
              <a:rPr lang="de-CH" sz="2200" dirty="0">
                <a:solidFill>
                  <a:schemeClr val="bg1"/>
                </a:solidFill>
              </a:rPr>
              <a:t>Einfachheit vs. Komplexität</a:t>
            </a:r>
          </a:p>
          <a:p>
            <a:endParaRPr lang="de-CH" sz="2200" dirty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5167" y="1525842"/>
            <a:ext cx="3545331" cy="4172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27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as?</a:t>
            </a:r>
          </a:p>
        </p:txBody>
      </p:sp>
    </p:spTree>
    <p:extLst>
      <p:ext uri="{BB962C8B-B14F-4D97-AF65-F5344CB8AC3E}">
        <p14:creationId xmlns:p14="http://schemas.microsoft.com/office/powerpoint/2010/main" val="216074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 450"/>
          <p:cNvPicPr preferRelativeResize="0">
            <a:picLocks noChangeAspect="1"/>
          </p:cNvPicPr>
          <p:nvPr/>
        </p:nvPicPr>
        <p:blipFill rotWithShape="1">
          <a:blip r:embed="rId3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200" cy="68372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5510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0" y="0"/>
            <a:ext cx="12193200" cy="683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14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 468"/>
          <p:cNvPicPr preferRelativeResize="0">
            <a:picLocks noChangeAspect="1"/>
          </p:cNvPicPr>
          <p:nvPr/>
        </p:nvPicPr>
        <p:blipFill rotWithShape="1">
          <a:blip r:embed="rId3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0" y="0"/>
            <a:ext cx="12193200" cy="686839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hape 469"/>
          <p:cNvSpPr txBox="1"/>
          <p:nvPr/>
        </p:nvSpPr>
        <p:spPr>
          <a:xfrm>
            <a:off x="2782785" y="922316"/>
            <a:ext cx="3842657" cy="110799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0" rIns="91425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b="1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Jean-Pierre </a:t>
            </a:r>
            <a:r>
              <a:rPr lang="de-DE" b="1" dirty="0" err="1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Auderset</a:t>
            </a:r>
            <a:endParaRPr lang="de-DE" sz="1800" b="1" i="0" u="none" strike="noStrike" cap="none" dirty="0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Swisscom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Arbeitsplatz 1-09</a:t>
            </a:r>
          </a:p>
        </p:txBody>
      </p:sp>
      <p:pic>
        <p:nvPicPr>
          <p:cNvPr id="4" name="Shape 47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934214" y="922316"/>
            <a:ext cx="848571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Shape 47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24691" y="928462"/>
            <a:ext cx="848571" cy="10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hape 472"/>
          <p:cNvSpPr txBox="1"/>
          <p:nvPr/>
        </p:nvSpPr>
        <p:spPr>
          <a:xfrm>
            <a:off x="7173261" y="928462"/>
            <a:ext cx="2109557" cy="110799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0" rIns="91425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1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Markus Lamprech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Mobilia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Arbeitsplatz 1-12</a:t>
            </a:r>
          </a:p>
        </p:txBody>
      </p:sp>
      <p:pic>
        <p:nvPicPr>
          <p:cNvPr id="7" name="Shape 47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934214" y="4216668"/>
            <a:ext cx="848571" cy="10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474"/>
          <p:cNvSpPr txBox="1"/>
          <p:nvPr/>
        </p:nvSpPr>
        <p:spPr>
          <a:xfrm>
            <a:off x="2782785" y="4216668"/>
            <a:ext cx="3842657" cy="110799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0" rIns="91425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1" i="0" u="none" strike="noStrike" cap="none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Sandra Zumbühl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Freelance Writ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Arbeitsplatz 1-24</a:t>
            </a:r>
          </a:p>
        </p:txBody>
      </p:sp>
      <p:sp>
        <p:nvSpPr>
          <p:cNvPr id="9" name="Shape 476"/>
          <p:cNvSpPr txBox="1"/>
          <p:nvPr/>
        </p:nvSpPr>
        <p:spPr>
          <a:xfrm>
            <a:off x="2782785" y="2592342"/>
            <a:ext cx="3625686" cy="110799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lIns="91425" tIns="0" rIns="91425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1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Pascal Müller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UBS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800" b="0" i="0" u="none" strike="noStrike" cap="none" dirty="0">
              <a:solidFill>
                <a:srgbClr val="33333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ct val="25000"/>
              <a:buFont typeface="Calibri"/>
              <a:buNone/>
            </a:pPr>
            <a:r>
              <a:rPr lang="de-DE" sz="1800" b="0" i="0" u="none" strike="noStrike" cap="none" dirty="0">
                <a:solidFill>
                  <a:srgbClr val="333333"/>
                </a:solidFill>
                <a:latin typeface="Calibri"/>
                <a:ea typeface="Calibri"/>
                <a:cs typeface="Calibri"/>
                <a:sym typeface="Calibri"/>
              </a:rPr>
              <a:t>Arbeitsplatz 1-23</a:t>
            </a:r>
          </a:p>
        </p:txBody>
      </p:sp>
      <p:pic>
        <p:nvPicPr>
          <p:cNvPr id="10" name="Shape 477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902421" y="2568135"/>
            <a:ext cx="880364" cy="10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2" descr="VillageOffic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03672" y="4710513"/>
            <a:ext cx="1790959" cy="1193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487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coworkingdesign.files.wordpress.com/2014/10/untitled_panorama9474v4cecb.jpg"/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983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0" y="0"/>
            <a:ext cx="12189600" cy="6847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11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pe 228" descr="1400.jpg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812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745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eso?</a:t>
            </a:r>
          </a:p>
        </p:txBody>
      </p:sp>
    </p:spTree>
    <p:extLst>
      <p:ext uri="{BB962C8B-B14F-4D97-AF65-F5344CB8AC3E}">
        <p14:creationId xmlns:p14="http://schemas.microsoft.com/office/powerpoint/2010/main" val="3848400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ZB2OuTL02DUZh.3sbgLA"/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Roadmap"/>
  <p:tag name="DATE" val="06.10.2008 19:03:56"/>
  <p:tag name="THINKCELLSHAPEDONOTDELETE" val="pzVn2W_6vykCYvqQmQPAv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lBwSoqhUK.8jOiaUCV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0</Words>
  <Application>Microsoft Office PowerPoint</Application>
  <PresentationFormat>Breitbild</PresentationFormat>
  <Paragraphs>150</Paragraphs>
  <Slides>19</Slides>
  <Notes>15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MS PGothic</vt:lpstr>
      <vt:lpstr>Arial</vt:lpstr>
      <vt:lpstr>Calibri</vt:lpstr>
      <vt:lpstr>Calibri Light</vt:lpstr>
      <vt:lpstr>Questrial</vt:lpstr>
      <vt:lpstr>TheSans Swisscom</vt:lpstr>
      <vt:lpstr>Office Theme</vt:lpstr>
      <vt:lpstr>think-cell Slide</vt:lpstr>
      <vt:lpstr>VillageOffice Work where you live!</vt:lpstr>
      <vt:lpstr>Was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ieso?</vt:lpstr>
      <vt:lpstr>PowerPoint-Präsentation</vt:lpstr>
      <vt:lpstr>PowerPoint-Präsentation</vt:lpstr>
      <vt:lpstr>Wie?</vt:lpstr>
      <vt:lpstr>Coworking Ein globaler Trend erfasst die Schweiz</vt:lpstr>
      <vt:lpstr>PowerPoint-Präsentation</vt:lpstr>
      <vt:lpstr>VillageOffice Genossenschaft</vt:lpstr>
      <vt:lpstr>Roadmap</vt:lpstr>
      <vt:lpstr>UNO Global Goals VillageOffice ist Partnerprojekt #11244</vt:lpstr>
      <vt:lpstr>Backup</vt:lpstr>
      <vt:lpstr>Core Belief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llageOffice</dc:title>
  <dc:creator>David Brühlmeier</dc:creator>
  <cp:lastModifiedBy>David Brühlmeier</cp:lastModifiedBy>
  <cp:revision>141</cp:revision>
  <dcterms:created xsi:type="dcterms:W3CDTF">2016-08-16T06:05:38Z</dcterms:created>
  <dcterms:modified xsi:type="dcterms:W3CDTF">2017-02-07T17:00:04Z</dcterms:modified>
</cp:coreProperties>
</file>